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8" autoAdjust="0"/>
    <p:restoredTop sz="85734" autoAdjust="0"/>
  </p:normalViewPr>
  <p:slideViewPr>
    <p:cSldViewPr snapToGrid="0">
      <p:cViewPr>
        <p:scale>
          <a:sx n="106" d="100"/>
          <a:sy n="106" d="100"/>
        </p:scale>
        <p:origin x="242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/7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22931" y="322337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  <a:latin typeface="Arial Hebrew" pitchFamily="2" charset="-79"/>
                <a:cs typeface="Arial Hebrew" pitchFamily="2" charset="-79"/>
              </a:rPr>
              <a:t>Revenues</a:t>
            </a:r>
            <a:endParaRPr lang="en-AU" sz="1050" b="1" dirty="0" err="1">
              <a:solidFill>
                <a:schemeClr val="tx1"/>
              </a:solidFill>
              <a:latin typeface="Arial Hebrew" pitchFamily="2" charset="-79"/>
              <a:cs typeface="Arial Hebrew" pitchFamily="2" charset="-79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4643" y="1476150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001 Private Water Hedge Sa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16968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003 Residential Sal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endCxn id="5" idx="1"/>
          </p:cNvCxnSpPr>
          <p:nvPr/>
        </p:nvCxnSpPr>
        <p:spPr>
          <a:xfrm flipV="1">
            <a:off x="1845343" y="1831750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</p:cNvCxnSpPr>
          <p:nvPr/>
        </p:nvCxnSpPr>
        <p:spPr>
          <a:xfrm>
            <a:off x="1845343" y="3597771"/>
            <a:ext cx="758825" cy="216455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4168" y="3285101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002 Public Sa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5893" y="1001315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W-Transact (0211) - So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5893" y="2292568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W-Transact (0212) - H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5893" y="2941812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W-Transact (0211) - Sof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5893" y="4112815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W-Transact (0212) - Har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5893" y="553507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W-Transact (0211) - Soft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2293" y="1221034"/>
            <a:ext cx="863600" cy="61071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stCxn id="5" idx="3"/>
            <a:endCxn id="26" idx="1"/>
          </p:cNvCxnSpPr>
          <p:nvPr/>
        </p:nvCxnSpPr>
        <p:spPr>
          <a:xfrm>
            <a:off x="4112293" y="1831750"/>
            <a:ext cx="863600" cy="68053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stCxn id="24" idx="3"/>
            <a:endCxn id="27" idx="1"/>
          </p:cNvCxnSpPr>
          <p:nvPr/>
        </p:nvCxnSpPr>
        <p:spPr>
          <a:xfrm flipV="1">
            <a:off x="4121818" y="3161531"/>
            <a:ext cx="854075" cy="47917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stCxn id="24" idx="3"/>
            <a:endCxn id="28" idx="1"/>
          </p:cNvCxnSpPr>
          <p:nvPr/>
        </p:nvCxnSpPr>
        <p:spPr>
          <a:xfrm>
            <a:off x="4121818" y="3640701"/>
            <a:ext cx="854075" cy="6918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3243" y="732825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>
                <a:latin typeface="Arial Hebrew" pitchFamily="2" charset="-79"/>
                <a:cs typeface="Arial Hebrew" pitchFamily="2" charset="-79"/>
              </a:rPr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18743" y="707978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>
                <a:latin typeface="Arial Hebrew" pitchFamily="2" charset="-79"/>
                <a:cs typeface="Arial Hebrew" pitchFamily="2" charset="-79"/>
              </a:rPr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0962" y="3441480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Arial Hebrew" pitchFamily="2" charset="-79"/>
                <a:cs typeface="Arial Hebrew" pitchFamily="2" charset="-79"/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4121818" y="5754790"/>
            <a:ext cx="854075" cy="75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79</TotalTime>
  <Words>52</Words>
  <Application>Microsoft Macintosh PowerPoint</Application>
  <PresentationFormat>Custom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rial Hebrew</vt:lpstr>
      <vt:lpstr>Calibri</vt:lpstr>
      <vt:lpstr>1_Synergy_CF_YNR013</vt:lpstr>
      <vt:lpstr>think-cell Slide</vt:lpstr>
      <vt:lpstr>Revenu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Paige Dotson</cp:lastModifiedBy>
  <cp:revision>35</cp:revision>
  <dcterms:created xsi:type="dcterms:W3CDTF">2020-04-12T13:23:13Z</dcterms:created>
  <dcterms:modified xsi:type="dcterms:W3CDTF">2022-07-04T18:47:53Z</dcterms:modified>
</cp:coreProperties>
</file>